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  <p:sldMasterId id="2147483674" r:id="rId5"/>
  </p:sldMasterIdLst>
  <p:notesMasterIdLst>
    <p:notesMasterId r:id="rId20"/>
  </p:notesMasterIdLst>
  <p:sldIdLst>
    <p:sldId id="351" r:id="rId6"/>
    <p:sldId id="352" r:id="rId7"/>
    <p:sldId id="353" r:id="rId8"/>
    <p:sldId id="354" r:id="rId9"/>
    <p:sldId id="355" r:id="rId10"/>
    <p:sldId id="356" r:id="rId11"/>
    <p:sldId id="357" r:id="rId12"/>
    <p:sldId id="358" r:id="rId13"/>
    <p:sldId id="359" r:id="rId14"/>
    <p:sldId id="360" r:id="rId15"/>
    <p:sldId id="367" r:id="rId16"/>
    <p:sldId id="361" r:id="rId17"/>
    <p:sldId id="362" r:id="rId18"/>
    <p:sldId id="363" r:id="rId19"/>
  </p:sldIdLst>
  <p:sldSz cx="9144000" cy="6858000" type="screen4x3"/>
  <p:notesSz cx="7023100" cy="9309100"/>
  <p:custDataLst>
    <p:tags r:id="rId21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1pPr>
    <a:lvl2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2pPr>
    <a:lvl3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3pPr>
    <a:lvl4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4pPr>
    <a:lvl5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5pPr>
    <a:lvl6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6pPr>
    <a:lvl7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7pPr>
    <a:lvl8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8pPr>
    <a:lvl9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stin Noznesky" initials="JN" lastIdx="21" clrIdx="0"/>
  <p:cmAuthor id="2" name="Adam Link" initials="AL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8F8F8"/>
    <a:srgbClr val="FF620B"/>
    <a:srgbClr val="425563"/>
    <a:srgbClr val="3D5567"/>
    <a:srgbClr val="067AAD"/>
    <a:srgbClr val="FAFAFA"/>
    <a:srgbClr val="FF8C12"/>
    <a:srgbClr val="7F7F7F"/>
    <a:srgbClr val="FCEC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2CDDE1-8612-4D3B-9C61-26874DC18F7E}" v="6" dt="2020-02-11T22:45:20.380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333333"/>
        </a:fontRef>
        <a:srgbClr val="333333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rgbClr val="D5D8CE"/>
          </a:solidFill>
        </a:fill>
      </a:tcStyle>
    </a:wholeTbl>
    <a:band2H>
      <a:tcTxStyle/>
      <a:tcStyle>
        <a:tcBdr/>
        <a:fill>
          <a:solidFill>
            <a:srgbClr val="EBECE8"/>
          </a:solidFill>
        </a:fill>
      </a:tcStyle>
    </a:band2H>
    <a:firstCol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381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381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D5D8CE"/>
          </a:solidFill>
        </a:fill>
      </a:tcStyle>
    </a:wholeTbl>
    <a:band2H>
      <a:tcTxStyle/>
      <a:tcStyle>
        <a:tcBdr/>
        <a:fill>
          <a:solidFill>
            <a:srgbClr val="EBECE8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DECFCB"/>
          </a:solidFill>
        </a:fill>
      </a:tcStyle>
    </a:wholeTbl>
    <a:band2H>
      <a:tcTxStyle/>
      <a:tcStyle>
        <a:tcBdr/>
        <a:fill>
          <a:solidFill>
            <a:srgbClr val="EFE8E7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E9E3D7"/>
          </a:solidFill>
        </a:fill>
      </a:tcStyle>
    </a:wholeTbl>
    <a:band2H>
      <a:tcTxStyle/>
      <a:tcStyle>
        <a:tcBdr/>
        <a:fill>
          <a:solidFill>
            <a:srgbClr val="F4F1EC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6FBFF"/>
          </a:solidFill>
        </a:fill>
      </a:tcStyle>
    </a:wholeTbl>
    <a:band2H>
      <a:tcTxStyle/>
      <a:tcStyle>
        <a:tcBdr/>
        <a:fill>
          <a:solidFill>
            <a:srgbClr val="FF8D30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CFE9FF"/>
        </a:fontRef>
        <a:srgbClr val="CFE9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CFE9FF"/>
              </a:solidFill>
              <a:prstDash val="solid"/>
              <a:round/>
            </a:ln>
          </a:top>
          <a:bottom>
            <a:ln w="25400" cap="flat">
              <a:solidFill>
                <a:srgbClr val="CFE9FF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8D30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CFE9FF"/>
              </a:solidFill>
              <a:prstDash val="solid"/>
              <a:round/>
            </a:ln>
          </a:top>
          <a:bottom>
            <a:ln w="25400" cap="flat">
              <a:solidFill>
                <a:srgbClr val="CFE9FF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EDF6FF"/>
          </a:solidFill>
        </a:fill>
      </a:tcStyle>
    </a:wholeTbl>
    <a:band2H>
      <a:tcTxStyle/>
      <a:tcStyle>
        <a:tcBdr/>
        <a:fill>
          <a:solidFill>
            <a:srgbClr val="F6FBFF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44" autoAdjust="0"/>
    <p:restoredTop sz="96064" autoAdjust="0"/>
  </p:normalViewPr>
  <p:slideViewPr>
    <p:cSldViewPr snapToGrid="0">
      <p:cViewPr varScale="1">
        <p:scale>
          <a:sx n="66" d="100"/>
          <a:sy n="66" d="100"/>
        </p:scale>
        <p:origin x="1188" y="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115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>
            <a:spLocks noGrp="1" noRot="1" noChangeAspect="1"/>
          </p:cNvSpPr>
          <p:nvPr>
            <p:ph type="sldImg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</p:spPr>
        <p:txBody>
          <a:bodyPr lIns="93324" tIns="46662" rIns="93324" bIns="46662"/>
          <a:lstStyle/>
          <a:p>
            <a:endParaRPr/>
          </a:p>
        </p:txBody>
      </p:sp>
      <p:sp>
        <p:nvSpPr>
          <p:cNvPr id="146" name="Shape 146"/>
          <p:cNvSpPr>
            <a:spLocks noGrp="1"/>
          </p:cNvSpPr>
          <p:nvPr>
            <p:ph type="body" sz="quarter" idx="1"/>
          </p:nvPr>
        </p:nvSpPr>
        <p:spPr>
          <a:xfrm>
            <a:off x="936414" y="4421823"/>
            <a:ext cx="5150273" cy="4189095"/>
          </a:xfrm>
          <a:prstGeom prst="rect">
            <a:avLst/>
          </a:prstGeom>
        </p:spPr>
        <p:txBody>
          <a:bodyPr lIns="93324" tIns="46662" rIns="93324" bIns="46662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734090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1pPr>
    <a:lvl2pPr indent="2286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2pPr>
    <a:lvl3pPr indent="4572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3pPr>
    <a:lvl4pPr indent="6858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4pPr>
    <a:lvl5pPr indent="9144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5pPr>
    <a:lvl6pPr indent="11430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6pPr>
    <a:lvl7pPr indent="13716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7pPr>
    <a:lvl8pPr indent="16002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8pPr>
    <a:lvl9pPr indent="18288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2984" cy="6858000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Section Title Slide">
    <p:bg>
      <p:bgPr>
        <a:solidFill>
          <a:srgbClr val="3D55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/>
          <p:nvPr/>
        </p:nvSpPr>
        <p:spPr>
          <a:xfrm>
            <a:off x="1875690" y="4439775"/>
            <a:ext cx="5461003" cy="1"/>
          </a:xfrm>
          <a:prstGeom prst="line">
            <a:avLst/>
          </a:prstGeom>
          <a:ln w="19050">
            <a:solidFill>
              <a:srgbClr val="FFFFFF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34" name="Shape 34"/>
          <p:cNvSpPr>
            <a:spLocks noGrp="1"/>
          </p:cNvSpPr>
          <p:nvPr>
            <p:ph type="body" sz="quarter" idx="1" hasCustomPrompt="1"/>
          </p:nvPr>
        </p:nvSpPr>
        <p:spPr>
          <a:xfrm>
            <a:off x="2202715" y="4580666"/>
            <a:ext cx="4806952" cy="14034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r>
              <a:rPr lang="en-US" dirty="0"/>
              <a:t>Click to edit subtitle/body text</a:t>
            </a:r>
            <a:endParaRPr dirty="0"/>
          </a:p>
        </p:txBody>
      </p:sp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911507" y="2210765"/>
            <a:ext cx="7320987" cy="207369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ection</a:t>
            </a:r>
            <a:r>
              <a:rPr dirty="0"/>
              <a:t> </a:t>
            </a:r>
            <a:r>
              <a:rPr lang="en-US" dirty="0"/>
              <a:t>Title </a:t>
            </a:r>
            <a:r>
              <a:rPr dirty="0"/>
              <a:t>Text</a:t>
            </a:r>
          </a:p>
        </p:txBody>
      </p:sp>
      <p:pic>
        <p:nvPicPr>
          <p:cNvPr id="36" name="image3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122" y="817622"/>
            <a:ext cx="2470140" cy="103523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Box 7"/>
          <p:cNvSpPr txBox="1"/>
          <p:nvPr userDrawn="1"/>
        </p:nvSpPr>
        <p:spPr>
          <a:xfrm>
            <a:off x="459855" y="6470879"/>
            <a:ext cx="685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8B40AF36-E6C1-CD42-B707-A7802A8239D8}" type="slidenum">
              <a:rPr lang="en-US" sz="800" b="0" smtClean="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rPr>
              <a:pPr algn="l"/>
              <a:t>‹#›</a:t>
            </a:fld>
            <a:endParaRPr lang="en-US" sz="800" b="0" dirty="0">
              <a:solidFill>
                <a:srgbClr val="FAFAF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232742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4" name="Shape 262"/>
          <p:cNvSpPr>
            <a:spLocks noGrp="1"/>
          </p:cNvSpPr>
          <p:nvPr>
            <p:ph type="body" sz="half" idx="1" hasCustomPrompt="1"/>
          </p:nvPr>
        </p:nvSpPr>
        <p:spPr>
          <a:xfrm>
            <a:off x="459855" y="1150691"/>
            <a:ext cx="8185133" cy="497019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spcBef>
                <a:spcPts val="700"/>
              </a:spcBef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  <a:lvl2pPr marL="800100" indent="-342900">
              <a:buFont typeface="Arial" charset="0"/>
              <a:buChar char="•"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712489" y="1149031"/>
            <a:ext cx="3959352" cy="4129025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-231775">
              <a:buFont typeface="Arial" charset="0"/>
              <a:buChar char="•"/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1pPr>
            <a:lvl2pPr marL="581025" indent="-242888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2pPr>
            <a:lvl3pPr marL="920750" indent="-233363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solidFill>
                  <a:srgbClr val="425563"/>
                </a:solidFill>
              </a:defRPr>
            </a:lvl4pPr>
            <a:lvl5pPr>
              <a:defRPr>
                <a:solidFill>
                  <a:srgbClr val="425563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83861" y="1149031"/>
            <a:ext cx="3959352" cy="4796853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-231775">
              <a:buFont typeface="Arial" charset="0"/>
              <a:buChar char="•"/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1pPr>
            <a:lvl2pPr marL="581025" indent="-242888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2pPr>
            <a:lvl3pPr marL="920750" indent="-233363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solidFill>
                  <a:srgbClr val="425563"/>
                </a:solidFill>
              </a:defRPr>
            </a:lvl4pPr>
            <a:lvl5pPr>
              <a:defRPr>
                <a:solidFill>
                  <a:srgbClr val="425563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pe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urc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Resources Text</a:t>
            </a:r>
            <a:endParaRPr sz="3200" dirty="0"/>
          </a:p>
        </p:txBody>
      </p:sp>
      <p:sp>
        <p:nvSpPr>
          <p:cNvPr id="4" name="Shape 262"/>
          <p:cNvSpPr>
            <a:spLocks noGrp="1"/>
          </p:cNvSpPr>
          <p:nvPr>
            <p:ph type="body" sz="half" idx="1" hasCustomPrompt="1"/>
          </p:nvPr>
        </p:nvSpPr>
        <p:spPr>
          <a:xfrm>
            <a:off x="459855" y="1150691"/>
            <a:ext cx="8185133" cy="49701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 typeface="Arial" charset="0"/>
              <a:buNone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4.tiff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139812-F319-4767-B166-62CA0F336D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87635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139812-F319-4767-B166-62CA0F336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44785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transition spd="med"/>
  <p:hf hdr="0" dt="0"/>
  <p:txStyles>
    <p:titleStyle>
      <a:lvl1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342900" marR="0" indent="-34290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1pPr>
      <a:lvl2pPr marL="783771" marR="0" indent="-326571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2pPr>
      <a:lvl3pPr marL="1219200" marR="0" indent="-30480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3pPr>
      <a:lvl4pPr marL="17373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4pPr>
      <a:lvl5pPr marL="21945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5pPr>
      <a:lvl6pPr marL="26517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6pPr>
      <a:lvl7pPr marL="31089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7pPr>
      <a:lvl8pPr marL="3566159" marR="0" indent="-365759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8pPr>
      <a:lvl9pPr marL="4023359" marR="0" indent="-365759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BF1DFA-609F-4B17-A6A4-728F6A07CA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68209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8" imgW="384" imgH="384" progId="TCLayout.ActiveDocument.1">
                  <p:embed/>
                </p:oleObj>
              </mc:Choice>
              <mc:Fallback>
                <p:oleObj name="think-cell Slide" r:id="rId8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BF1DFA-609F-4B17-A6A4-728F6A07C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asted-image.tiff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9615" y="5567343"/>
            <a:ext cx="1878636" cy="1011258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Box 7"/>
          <p:cNvSpPr txBox="1"/>
          <p:nvPr userDrawn="1"/>
        </p:nvSpPr>
        <p:spPr>
          <a:xfrm>
            <a:off x="459855" y="6470879"/>
            <a:ext cx="685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8B40AF36-E6C1-CD42-B707-A7802A8239D8}" type="slidenum">
              <a:rPr lang="en-US" sz="800" b="0" smtClean="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rPr>
              <a:pPr algn="l"/>
              <a:t>‹#›</a:t>
            </a:fld>
            <a:endParaRPr lang="en-US" sz="800" b="0" dirty="0">
              <a:solidFill>
                <a:srgbClr val="42556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911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F10BACC-7FD8-604B-BCEA-483EE82CE8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24121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70694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521502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itting, table, woman, holding&#10;&#10;Description automatically generated">
            <a:extLst>
              <a:ext uri="{FF2B5EF4-FFF2-40B4-BE49-F238E27FC236}">
                <a16:creationId xmlns:a16="http://schemas.microsoft.com/office/drawing/2014/main" id="{E61A1B1F-40DD-E543-A9F3-5A7E817F96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AFConnect_Screensaver_FourthDraft_03">
            <a:hlinkClick r:id="" action="ppaction://media"/>
            <a:extLst>
              <a:ext uri="{FF2B5EF4-FFF2-40B4-BE49-F238E27FC236}">
                <a16:creationId xmlns:a16="http://schemas.microsoft.com/office/drawing/2014/main" id="{D38E19F4-4C4D-D446-8B87-1649965C14E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2226" y="2914550"/>
            <a:ext cx="6211326" cy="3493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139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182F52C-301A-B142-99B6-5EDB770442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36567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7EF685F-7F10-C64B-A52D-CE264A2B55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2708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5EC26D-A2A3-684A-9018-B138C1B57A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57551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4F6AC0-B3F0-F64B-8BE8-AD4728F69C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9333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C30F439-AB59-4A4E-9915-B5E07BA763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17880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0698FA64-70E5-EB4D-8D20-CAC8DCA46F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59128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AB97BDA-9D6D-0E40-BCE7-BF4BC3B7D6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92921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CA4B910-B580-6D44-B185-423A97644C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686077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7D29101-5BF9-164C-A77B-705DFD287E4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12987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279296-78E0-0943-A910-DB31F0BDC0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9319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CT against Afib">
      <a:dk1>
        <a:srgbClr val="3E5566"/>
      </a:dk1>
      <a:lt1>
        <a:srgbClr val="E3E5E5"/>
      </a:lt1>
      <a:dk2>
        <a:srgbClr val="F16422"/>
      </a:dk2>
      <a:lt2>
        <a:srgbClr val="000000"/>
      </a:lt2>
      <a:accent1>
        <a:srgbClr val="6E6E6E"/>
      </a:accent1>
      <a:accent2>
        <a:srgbClr val="9DACB5"/>
      </a:accent2>
      <a:accent3>
        <a:srgbClr val="00768C"/>
      </a:accent3>
      <a:accent4>
        <a:srgbClr val="0096B6"/>
      </a:accent4>
      <a:accent5>
        <a:srgbClr val="28C2EB"/>
      </a:accent5>
      <a:accent6>
        <a:srgbClr val="AB2E24"/>
      </a:accent6>
      <a:hlink>
        <a:srgbClr val="3E5566"/>
      </a:hlink>
      <a:folHlink>
        <a:srgbClr val="3E5566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8D30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norm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T PowerPoint-Template-PROOF-02" id="{E2AA5E45-3166-2E4B-8247-BEFEFD693699}" vid="{C913A986-C88B-4843-9450-37E0B8C0B875}"/>
    </a:ext>
  </a:extLst>
</a:theme>
</file>

<file path=ppt/theme/theme2.xml><?xml version="1.0" encoding="utf-8"?>
<a:theme xmlns:a="http://schemas.openxmlformats.org/drawingml/2006/main" name="General Slide">
  <a:themeElements>
    <a:clrScheme name="ACT against Afib">
      <a:dk1>
        <a:srgbClr val="3E5566"/>
      </a:dk1>
      <a:lt1>
        <a:srgbClr val="E3E5E5"/>
      </a:lt1>
      <a:dk2>
        <a:srgbClr val="F16422"/>
      </a:dk2>
      <a:lt2>
        <a:srgbClr val="000000"/>
      </a:lt2>
      <a:accent1>
        <a:srgbClr val="6E6E6E"/>
      </a:accent1>
      <a:accent2>
        <a:srgbClr val="9DACB5"/>
      </a:accent2>
      <a:accent3>
        <a:srgbClr val="00768C"/>
      </a:accent3>
      <a:accent4>
        <a:srgbClr val="0096B6"/>
      </a:accent4>
      <a:accent5>
        <a:srgbClr val="28C2EB"/>
      </a:accent5>
      <a:accent6>
        <a:srgbClr val="AB2E24"/>
      </a:accent6>
      <a:hlink>
        <a:srgbClr val="3E5566"/>
      </a:hlink>
      <a:folHlink>
        <a:srgbClr val="3E5566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CT PowerPoint-Template-PROOF-02" id="{E2AA5E45-3166-2E4B-8247-BEFEFD693699}" vid="{C83B07D2-4988-1044-BF8E-E7F67054677B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rgbClr val="333333"/>
      </a:dk1>
      <a:lt1>
        <a:srgbClr val="FFFFFF"/>
      </a:lt1>
      <a:dk2>
        <a:srgbClr val="A7A7A7"/>
      </a:dk2>
      <a:lt2>
        <a:srgbClr val="535353"/>
      </a:lt2>
      <a:accent1>
        <a:srgbClr val="768347"/>
      </a:accent1>
      <a:accent2>
        <a:srgbClr val="ACB66A"/>
      </a:accent2>
      <a:accent3>
        <a:srgbClr val="9D512C"/>
      </a:accent3>
      <a:accent4>
        <a:srgbClr val="83979D"/>
      </a:accent4>
      <a:accent5>
        <a:srgbClr val="ADCCD8"/>
      </a:accent5>
      <a:accent6>
        <a:srgbClr val="C3AE81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8D30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norm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70B395FB96A74F9AEC75DE34F49C71" ma:contentTypeVersion="15" ma:contentTypeDescription="Create a new document." ma:contentTypeScope="" ma:versionID="a36d256d3a98bf1e3f1307b7c1b963ae">
  <xsd:schema xmlns:xsd="http://www.w3.org/2001/XMLSchema" xmlns:xs="http://www.w3.org/2001/XMLSchema" xmlns:p="http://schemas.microsoft.com/office/2006/metadata/properties" xmlns:ns1="http://schemas.microsoft.com/sharepoint/v3" xmlns:ns3="388ff161-de2a-40bc-b4aa-18623cb6c480" xmlns:ns4="4604303c-e9fe-4c42-a940-5a889518cb4e" targetNamespace="http://schemas.microsoft.com/office/2006/metadata/properties" ma:root="true" ma:fieldsID="3298d466bb19aa2e958b4b8beb05df70" ns1:_="" ns3:_="" ns4:_="">
    <xsd:import namespace="http://schemas.microsoft.com/sharepoint/v3"/>
    <xsd:import namespace="388ff161-de2a-40bc-b4aa-18623cb6c480"/>
    <xsd:import namespace="4604303c-e9fe-4c42-a940-5a889518cb4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1:_ip_UnifiedCompliancePolicyProperties" minOccurs="0"/>
                <xsd:element ref="ns1:_ip_UnifiedCompliancePolicyUIAction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8ff161-de2a-40bc-b4aa-18623cb6c4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04303c-e9fe-4c42-a940-5a889518cb4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4545768-EEAE-4F5A-971C-2C4718F5D9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88ff161-de2a-40bc-b4aa-18623cb6c480"/>
    <ds:schemaRef ds:uri="4604303c-e9fe-4c42-a940-5a889518cb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5873522-8F5D-467B-A71C-EA066B325A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CA3CEF7-285B-4849-9F93-D16E1170371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51</TotalTime>
  <Words>0</Words>
  <Application>Microsoft Office PowerPoint</Application>
  <PresentationFormat>On-screen Show (4:3)</PresentationFormat>
  <Paragraphs>0</Paragraphs>
  <Slides>14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 Light</vt:lpstr>
      <vt:lpstr>Helvetica</vt:lpstr>
      <vt:lpstr>1_Office Theme</vt:lpstr>
      <vt:lpstr>General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y Meyers</dc:creator>
  <cp:lastModifiedBy>Chris Theaker</cp:lastModifiedBy>
  <cp:revision>366</cp:revision>
  <cp:lastPrinted>2020-05-27T13:53:50Z</cp:lastPrinted>
  <dcterms:modified xsi:type="dcterms:W3CDTF">2020-08-11T14:4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70B395FB96A74F9AEC75DE34F49C71</vt:lpwstr>
  </property>
</Properties>
</file>